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762" r:id="rId2"/>
    <p:sldMasterId id="2147484090" r:id="rId3"/>
    <p:sldMasterId id="2147484102" r:id="rId4"/>
    <p:sldMasterId id="2147484192" r:id="rId5"/>
    <p:sldMasterId id="2147485015" r:id="rId6"/>
  </p:sldMasterIdLst>
  <p:notesMasterIdLst>
    <p:notesMasterId r:id="rId11"/>
  </p:notesMasterIdLst>
  <p:handoutMasterIdLst>
    <p:handoutMasterId r:id="rId12"/>
  </p:handoutMasterIdLst>
  <p:sldIdLst>
    <p:sldId id="408" r:id="rId7"/>
    <p:sldId id="410" r:id="rId8"/>
    <p:sldId id="452" r:id="rId9"/>
    <p:sldId id="454" r:id="rId10"/>
  </p:sldIdLst>
  <p:sldSz cx="10688638" cy="7562850"/>
  <p:notesSz cx="6789738" cy="9929813"/>
  <p:defaultTextStyle>
    <a:defPPr>
      <a:defRPr lang="fr-FR"/>
    </a:defPPr>
    <a:lvl1pPr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519113" indent="-619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039813" indent="-1254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562100" indent="-1905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82800" indent="-2540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BE"/>
    <a:srgbClr val="00759F"/>
    <a:srgbClr val="005073"/>
    <a:srgbClr val="64AC73"/>
    <a:srgbClr val="EB6E55"/>
    <a:srgbClr val="A10A5E"/>
    <a:srgbClr val="C4D11A"/>
    <a:srgbClr val="009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718" autoAdjust="0"/>
  </p:normalViewPr>
  <p:slideViewPr>
    <p:cSldViewPr snapToObjects="1">
      <p:cViewPr>
        <p:scale>
          <a:sx n="90" d="100"/>
          <a:sy n="90" d="100"/>
        </p:scale>
        <p:origin x="-1698" y="-21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5ACCA00-2454-4C47-BAB1-59830A9659D7}" type="datetime1">
              <a:rPr lang="fr-FR"/>
              <a:pPr>
                <a:defRPr/>
              </a:pPr>
              <a:t>10/05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FEE0CB1-588C-4D44-9DA9-32101B0C315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447779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723E02ED-90FC-47A9-9747-1D43C7634F08}" type="datetime1">
              <a:rPr lang="fr-FR"/>
              <a:pPr>
                <a:defRPr/>
              </a:pPr>
              <a:t>10/05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63588" y="744538"/>
            <a:ext cx="52625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BA11315-1ACC-42EB-BBD4-361F7CA7D078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432809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MS PGothic" panose="020B0600070205080204" pitchFamily="34" charset="-128"/>
        <a:cs typeface="Geneva" charset="0"/>
      </a:defRPr>
    </a:lvl1pPr>
    <a:lvl2pPr marL="5191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2pPr>
    <a:lvl3pPr marL="10398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3pPr>
    <a:lvl4pPr marL="15621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4pPr>
    <a:lvl5pPr marL="20828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5pPr>
    <a:lvl6pPr marL="2606860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33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5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7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image" Target="../media/image15.png"/><Relationship Id="rId3" Type="http://schemas.openxmlformats.org/officeDocument/2006/relationships/image" Target="../media/image5.wmf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wmf"/><Relationship Id="rId11" Type="http://schemas.openxmlformats.org/officeDocument/2006/relationships/image" Target="../media/image13.png"/><Relationship Id="rId5" Type="http://schemas.openxmlformats.org/officeDocument/2006/relationships/image" Target="../media/image7.wmf"/><Relationship Id="rId10" Type="http://schemas.openxmlformats.org/officeDocument/2006/relationships/image" Target="../media/image12.wmf"/><Relationship Id="rId4" Type="http://schemas.openxmlformats.org/officeDocument/2006/relationships/image" Target="../media/image6.wmf"/><Relationship Id="rId9" Type="http://schemas.openxmlformats.org/officeDocument/2006/relationships/image" Target="../media/image11.wmf"/><Relationship Id="rId14" Type="http://schemas.openxmlformats.org/officeDocument/2006/relationships/image" Target="../media/image16.w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9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0" y="2600324"/>
            <a:ext cx="5257800" cy="1371600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0" y="4048125"/>
            <a:ext cx="525780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30360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56"/>
            <a:ext cx="9085342" cy="1502066"/>
          </a:xfrm>
        </p:spPr>
        <p:txBody>
          <a:bodyPr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2FD0D450-7E0A-48F6-A9A0-CDA96052A551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13992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2989" y="1533578"/>
            <a:ext cx="4505558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705" y="1533578"/>
            <a:ext cx="4507413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EBAA30E1-8595-417C-B03F-2D2A85C8785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7284305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5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5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1C76888C-7F5E-4613-AD5B-1799237DA6F6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71606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2E1B4EB9-FF7F-4550-B61D-72BB8380B30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792143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CE10648A-5557-40F0-95F3-C72C54880C6C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47879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1" y="301122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4" y="1582600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C3774398-3A40-4648-B2C5-952E3EE81A09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6495095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C288972C-5387-47B9-92EA-89242A4B577C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56779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E7E77F0B-0FDF-4291-918A-15DA5FF2D7BC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0382771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6790" y="313375"/>
            <a:ext cx="2297315" cy="59049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2989" y="313375"/>
            <a:ext cx="6715656" cy="59049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632A1141-24C8-4E4F-892F-950694D69DC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7430731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4432" y="513789"/>
            <a:ext cx="5166175" cy="494597"/>
          </a:xfrm>
        </p:spPr>
        <p:txBody>
          <a:bodyPr>
            <a:no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534432" y="1176444"/>
            <a:ext cx="9619774" cy="5293995"/>
          </a:xfrm>
        </p:spPr>
        <p:txBody>
          <a:bodyPr>
            <a:noAutofit/>
          </a:bodyPr>
          <a:lstStyle>
            <a:lvl1pPr>
              <a:buNone/>
              <a:defRPr sz="1400"/>
            </a:lvl1pPr>
            <a:lvl2pPr>
              <a:buClr>
                <a:srgbClr val="FF0000"/>
              </a:buClr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4"/>
          </p:nvPr>
        </p:nvSpPr>
        <p:spPr>
          <a:xfrm>
            <a:off x="7927975" y="6908800"/>
            <a:ext cx="2493963" cy="401638"/>
          </a:xfrm>
        </p:spPr>
        <p:txBody>
          <a:bodyPr/>
          <a:lstStyle>
            <a:lvl1pPr defTabSz="520636" eaLnBrk="0" hangingPunct="0">
              <a:defRPr>
                <a:solidFill>
                  <a:srgbClr val="989898"/>
                </a:solidFill>
              </a:defRPr>
            </a:lvl1pPr>
          </a:lstStyle>
          <a:p>
            <a:pPr>
              <a:defRPr/>
            </a:pPr>
            <a:fld id="{FC368227-FFA8-4129-8722-A4DB7B61262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03310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X:\Charte graphique\bandeau des financeurs\bandeau der des der\bandeau 20140225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6445250"/>
            <a:ext cx="523557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999310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énum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1809101" y="446254"/>
            <a:ext cx="8778056" cy="799450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rgbClr val="3C605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546523" y="2034433"/>
            <a:ext cx="9619774" cy="5071411"/>
          </a:xfrm>
          <a:prstGeom prst="rect">
            <a:avLst/>
          </a:prstGeom>
        </p:spPr>
        <p:txBody>
          <a:bodyPr/>
          <a:lstStyle>
            <a:lvl1pPr>
              <a:defRPr sz="2700" cap="none" baseline="0"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6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defTabSz="1041271" eaLnBrk="1" hangingPunct="1">
              <a:defRPr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73544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38307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2017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  <a:prstGeom prst="rect">
            <a:avLst/>
          </a:prstGeom>
        </p:spPr>
        <p:txBody>
          <a:bodyPr lIns="104274" tIns="52138" rIns="104274" bIns="52138"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710596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4432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433391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35483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26889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07985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9753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149875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09912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_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er 3"/>
          <p:cNvGrpSpPr>
            <a:grpSpLocks/>
          </p:cNvGrpSpPr>
          <p:nvPr userDrawn="1"/>
        </p:nvGrpSpPr>
        <p:grpSpPr bwMode="auto">
          <a:xfrm>
            <a:off x="4970463" y="6296025"/>
            <a:ext cx="5184775" cy="844550"/>
            <a:chOff x="4969669" y="6296025"/>
            <a:chExt cx="5185297" cy="844549"/>
          </a:xfrm>
        </p:grpSpPr>
        <p:grpSp>
          <p:nvGrpSpPr>
            <p:cNvPr id="7" name="Grouper 16"/>
            <p:cNvGrpSpPr>
              <a:grpSpLocks/>
            </p:cNvGrpSpPr>
            <p:nvPr/>
          </p:nvGrpSpPr>
          <p:grpSpPr bwMode="auto">
            <a:xfrm>
              <a:off x="5071269" y="6559741"/>
              <a:ext cx="5083697" cy="580833"/>
              <a:chOff x="5090319" y="6566091"/>
              <a:chExt cx="5083697" cy="580833"/>
            </a:xfrm>
          </p:grpSpPr>
          <p:pic>
            <p:nvPicPr>
              <p:cNvPr id="9" name="Image 5" descr="LOG-etat.wmf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90319" y="6632071"/>
                <a:ext cx="389731" cy="502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6" descr="LOG_mairie paris.wmf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9919" y="6662870"/>
                <a:ext cx="752547" cy="862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7" descr="LOG_IDF.wmf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8619" y="6656520"/>
                <a:ext cx="580231" cy="96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Image 8" descr="LOG_essone.wmf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23968" y="6566091"/>
                <a:ext cx="370681" cy="200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Image 9" descr="LOG_st deni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10785" y="6608766"/>
                <a:ext cx="496665" cy="1517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" name="Image 10" descr="LOG_val de marne.wmf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38965" y="6584951"/>
                <a:ext cx="394169" cy="1819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Image 11" descr="LOG_val doise.wmf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9800" y="6572317"/>
                <a:ext cx="344216" cy="194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" name="Image 12" descr="LOG_ANR.wmf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25320" y="6960635"/>
                <a:ext cx="326230" cy="14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Image 13" descr="LOG_oseo.png"/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8100" y="6950075"/>
                <a:ext cx="467296" cy="180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Image 14" descr="LOG-europe.png"/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4912" y="6888799"/>
                <a:ext cx="368750" cy="258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Image 15" descr="LOG_yvelines.png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09720" y="6911975"/>
                <a:ext cx="618065" cy="231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Image 16" descr="LOG_92.wmf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13801" y="6911975"/>
                <a:ext cx="305410" cy="193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" name="ZoneTexte 7"/>
            <p:cNvSpPr txBox="1">
              <a:spLocks noChangeArrowheads="1"/>
            </p:cNvSpPr>
            <p:nvPr/>
          </p:nvSpPr>
          <p:spPr bwMode="auto">
            <a:xfrm>
              <a:off x="4969669" y="6296025"/>
              <a:ext cx="2221136" cy="22066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5pPr>
              <a:lvl6pPr marL="25146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6pPr>
              <a:lvl7pPr marL="29718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7pPr>
              <a:lvl8pPr marL="34290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8pPr>
              <a:lvl9pPr marL="38862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9pPr>
            </a:lstStyle>
            <a:p>
              <a:pPr defTabSz="520636" eaLnBrk="1" hangingPunct="1">
                <a:defRPr/>
              </a:pPr>
              <a:r>
                <a:rPr lang="fr-FR" sz="800" smtClean="0"/>
                <a:t>Cluster and project funding partners</a:t>
              </a:r>
            </a:p>
          </p:txBody>
        </p:sp>
      </p:grpSp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909951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24608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49262" y="302865"/>
            <a:ext cx="2404944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3" y="302865"/>
            <a:ext cx="7036687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50114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</p:spPr>
        <p:txBody>
          <a:bodyPr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88AD64F5-72C8-4B62-9E2F-B95169624393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8930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D793737-1AED-43BA-B3C5-9BEFED75790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13638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B6937F7-BE5A-48B7-A876-17CC310A615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84614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7D3DC643-E0E9-4B18-8654-073BB1599EE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7206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DEA60549-6012-4A48-91A6-EA75EE9718E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92861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BCDBAF52-2515-41FD-B6A2-66EA1F02DD6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3395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16EA54D4-9ACD-48DF-9CB6-16FB63C758C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16948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621F965D-1732-43AB-B648-2390526D38C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5111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4" descr="BANDO-horizonta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space réservé du texte 17"/>
          <p:cNvSpPr>
            <a:spLocks noGrp="1"/>
          </p:cNvSpPr>
          <p:nvPr>
            <p:ph type="body" sz="quarter" idx="10"/>
          </p:nvPr>
        </p:nvSpPr>
        <p:spPr>
          <a:xfrm>
            <a:off x="962820" y="2105027"/>
            <a:ext cx="4380706" cy="4343399"/>
          </a:xfrm>
          <a:prstGeom prst="rect">
            <a:avLst/>
          </a:prstGeom>
        </p:spPr>
        <p:txBody>
          <a:bodyPr vert="horz" lIns="91404" tIns="45702" rIns="91404" bIns="45702"/>
          <a:lstStyle>
            <a:lvl1pPr>
              <a:buClr>
                <a:srgbClr val="005073"/>
              </a:buClr>
              <a:defRPr sz="2100" b="0">
                <a:solidFill>
                  <a:srgbClr val="005073"/>
                </a:solidFill>
                <a:latin typeface="Arial Black"/>
                <a:cs typeface="Arial Black"/>
              </a:defRPr>
            </a:lvl1pPr>
            <a:lvl2pPr>
              <a:buClr>
                <a:srgbClr val="005073"/>
              </a:buClr>
              <a:defRPr sz="1800" b="1">
                <a:latin typeface="Arial "/>
                <a:cs typeface="Arial "/>
              </a:defRPr>
            </a:lvl2pPr>
            <a:lvl3pPr>
              <a:buClr>
                <a:srgbClr val="005073"/>
              </a:buClr>
              <a:defRPr sz="1800">
                <a:latin typeface="Arial"/>
                <a:cs typeface="Arial"/>
              </a:defRPr>
            </a:lvl3pPr>
            <a:lvl4pPr>
              <a:buClr>
                <a:srgbClr val="005073"/>
              </a:buClr>
              <a:defRPr sz="1800">
                <a:latin typeface="Arial "/>
                <a:cs typeface="Arial "/>
              </a:defRPr>
            </a:lvl4pPr>
            <a:lvl5pPr>
              <a:buClr>
                <a:srgbClr val="005073"/>
              </a:buClr>
              <a:defRPr sz="1800">
                <a:latin typeface="Arial "/>
                <a:cs typeface="Arial 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>
          <a:xfrm>
            <a:off x="9148763" y="7197725"/>
            <a:ext cx="960437" cy="231775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>
          <a:xfrm>
            <a:off x="7151688" y="6983413"/>
            <a:ext cx="3384550" cy="277812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9993313" y="7197725"/>
            <a:ext cx="542925" cy="231775"/>
          </a:xfrm>
          <a:prstGeom prst="rect">
            <a:avLst/>
          </a:prstGeom>
        </p:spPr>
        <p:txBody>
          <a:bodyPr vert="horz" wrap="square" lIns="91411" tIns="45706" rIns="91411" bIns="45706" numCol="1" anchor="t" anchorCtr="0" compatLnSpc="1">
            <a:prstTxWarp prst="textNoShape">
              <a:avLst/>
            </a:prstTxWarp>
          </a:bodyPr>
          <a:lstStyle>
            <a:lvl1pPr defTabSz="520636">
              <a:defRPr/>
            </a:lvl1pPr>
          </a:lstStyle>
          <a:p>
            <a:pPr>
              <a:defRPr/>
            </a:pPr>
            <a:fld id="{3C9D0C1F-7528-41C5-9191-16308FFF376D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0355272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7B7EAC16-85AC-4F8D-B780-13DD443A282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13199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680BAD82-042C-49B1-852B-FEEA0607840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64368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32564" y="302864"/>
            <a:ext cx="2421644" cy="6484444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2063" y="302864"/>
            <a:ext cx="7092357" cy="6484444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EB3ADB1D-C167-4EDF-8D6D-8CE75C00DCF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42563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B898FE74-48D6-4E99-A4A7-8074EAE74EE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95058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ttp://www.arnaudgobet.fr/wp-content/uploads/2013/03/logo-Medice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913" y="446088"/>
            <a:ext cx="3659187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C:\Users\LLR\Pictures\Loïc\Small Business France\Communication\SBF web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287338"/>
            <a:ext cx="2189162" cy="129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5277" y="303345"/>
            <a:ext cx="9619774" cy="1259415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3700">
                <a:latin typeface="Capsuula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5277" y="1764454"/>
            <a:ext cx="9619774" cy="4991608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1900">
                <a:latin typeface="Helvetica Neue" pitchFamily="2"/>
              </a:defRPr>
            </a:lvl1pPr>
            <a:lvl2pPr>
              <a:defRPr sz="1900">
                <a:latin typeface="Helvetica Neue" pitchFamily="2"/>
              </a:defRPr>
            </a:lvl2pPr>
            <a:lvl3pPr>
              <a:defRPr sz="1900">
                <a:latin typeface="Helvetica Neue" pitchFamily="2"/>
              </a:defRPr>
            </a:lvl3pPr>
            <a:lvl4pPr>
              <a:defRPr sz="1900">
                <a:latin typeface="Helvetica Neue" pitchFamily="2"/>
              </a:defRPr>
            </a:lvl4pPr>
            <a:lvl5pPr>
              <a:defRPr sz="1900">
                <a:latin typeface="Helvetica Neue" pitchFamily="2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652838" y="7010400"/>
            <a:ext cx="3382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659688" y="7010400"/>
            <a:ext cx="2495550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55A5AB2F-9F41-49B7-98F4-7672EEAF513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2210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lIns="94603" tIns="47302" rIns="94603" bIns="47302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5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6"/>
          <p:cNvSpPr>
            <a:spLocks noGrp="1"/>
          </p:cNvSpPr>
          <p:nvPr>
            <p:ph type="sldNum" sz="quarter" idx="11"/>
          </p:nvPr>
        </p:nvSpPr>
        <p:spPr>
          <a:xfrm>
            <a:off x="76596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CC1339D2-DCD3-4CCD-9702-6146A16E45D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7"/>
          <p:cNvSpPr>
            <a:spLocks noGrp="1"/>
          </p:cNvSpPr>
          <p:nvPr>
            <p:ph type="ftr" sz="quarter" idx="12"/>
          </p:nvPr>
        </p:nvSpPr>
        <p:spPr>
          <a:xfrm>
            <a:off x="3651250" y="7010400"/>
            <a:ext cx="3386138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44767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978496" y="546592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911306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977606" y="5159903"/>
            <a:ext cx="6947615" cy="190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00" cap="all" baseline="0">
                <a:solidFill>
                  <a:schemeClr val="bg1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9806386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1181029"/>
            <a:ext cx="9619774" cy="1697962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algn="l">
              <a:lnSpc>
                <a:spcPts val="4562"/>
              </a:lnSpc>
              <a:defRPr sz="5100" b="1" i="0" kern="1200" cap="all" spc="114" baseline="0">
                <a:solidFill>
                  <a:schemeClr val="bg1"/>
                </a:solidFill>
                <a:latin typeface="DIN Next LT Pro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3320866"/>
            <a:ext cx="9619774" cy="480707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marL="0" indent="0">
              <a:buNone/>
              <a:defRPr sz="23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34162304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9366842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3971652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12180221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487592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60258971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90724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907900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85738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0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5738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5"/>
          <p:cNvSpPr/>
          <p:nvPr userDrawn="1">
            <p:custDataLst>
              <p:tags r:id="rId3"/>
            </p:custDataLst>
          </p:nvPr>
        </p:nvSpPr>
        <p:spPr>
          <a:xfrm>
            <a:off x="0" y="1555750"/>
            <a:ext cx="10688638" cy="1622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4" tIns="52138" rIns="104274" bIns="52138" anchor="ctr"/>
          <a:lstStyle/>
          <a:p>
            <a:pPr algn="ctr" defTabSz="1042744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45" descr="SANOFI_Logo_H_2011_Quadri copi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02463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854" y="1556291"/>
            <a:ext cx="8244933" cy="1621111"/>
          </a:xfrm>
        </p:spPr>
        <p:txBody>
          <a:bodyPr anchor="ctr"/>
          <a:lstStyle>
            <a:lvl1pPr>
              <a:defRPr sz="4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75461" y="3747139"/>
            <a:ext cx="7482047" cy="635288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0E43ED6F-5D14-42D2-924D-E774AFB55D69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733784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BEBBCA56-3BD9-436C-A13C-F07554A05D9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518171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9.jpe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8.jpe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07" r:id="rId1"/>
    <p:sldLayoutId id="2147487208" r:id="rId2"/>
    <p:sldLayoutId id="2147487209" r:id="rId3"/>
    <p:sldLayoutId id="2147487210" r:id="rId4"/>
    <p:sldLayoutId id="2147487211" r:id="rId5"/>
    <p:sldLayoutId id="2147487212" r:id="rId6"/>
    <p:sldLayoutId id="2147487213" r:id="rId7"/>
  </p:sldLayoutIdLst>
  <p:hf sldNum="0" hdr="0" ftr="0" dt="0"/>
  <p:txStyles>
    <p:titleStyle>
      <a:lvl1pPr algn="ctr" defTabSz="519113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MS PGothic" panose="020B0600070205080204" pitchFamily="34" charset="-128"/>
          <a:cs typeface="Geneva" charset="0"/>
        </a:defRPr>
      </a:lvl1pPr>
      <a:lvl2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2pPr>
      <a:lvl3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3pPr>
      <a:lvl4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4pPr>
      <a:lvl5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5pPr>
      <a:lvl6pPr marL="457143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6pPr>
      <a:lvl7pPr marL="914286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7pPr>
      <a:lvl8pPr marL="1371431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8pPr>
      <a:lvl9pPr marL="1828574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9pPr>
    </p:titleStyle>
    <p:bodyStyle>
      <a:lvl1pPr marL="388938" indent="-388938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MS PGothic" panose="020B0600070205080204" pitchFamily="34" charset="-128"/>
          <a:cs typeface="Geneva" charset="0"/>
        </a:defRPr>
      </a:lvl1pPr>
      <a:lvl2pPr marL="844550" indent="-323850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2pPr>
      <a:lvl3pPr marL="13017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3pPr>
      <a:lvl4pPr marL="18224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4pPr>
      <a:lvl5pPr marL="2344738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5pPr>
      <a:lvl6pPr marL="2867547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9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91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63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3425" y="312738"/>
            <a:ext cx="932497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3425" y="1533525"/>
            <a:ext cx="9190038" cy="468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51975" y="7085013"/>
            <a:ext cx="56515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1041271" eaLnBrk="1" hangingPunct="1">
              <a:defRPr sz="900"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47E5EDD7-9AC8-494C-BB05-D56BEA6B2B0C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  <p:pic>
        <p:nvPicPr>
          <p:cNvPr id="1029" name="Picture 45" descr="SANOFI_Logo_H_2011_Quadri copi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214" r:id="rId1"/>
    <p:sldLayoutId id="2147487215" r:id="rId2"/>
    <p:sldLayoutId id="2147487216" r:id="rId3"/>
    <p:sldLayoutId id="2147487217" r:id="rId4"/>
    <p:sldLayoutId id="2147487218" r:id="rId5"/>
    <p:sldLayoutId id="2147487219" r:id="rId6"/>
    <p:sldLayoutId id="2147487220" r:id="rId7"/>
    <p:sldLayoutId id="2147487221" r:id="rId8"/>
    <p:sldLayoutId id="2147487222" r:id="rId9"/>
    <p:sldLayoutId id="2147487223" r:id="rId10"/>
    <p:sldLayoutId id="2147487224" r:id="rId11"/>
    <p:sldLayoutId id="2147487225" r:id="rId12"/>
    <p:sldLayoutId id="2147487226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5213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6pPr>
      <a:lvl7pPr marL="104274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7pPr>
      <a:lvl8pPr marL="156411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8pPr>
      <a:lvl9pPr marL="20854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88938" indent="-3889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44550" indent="-3238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b="1">
          <a:solidFill>
            <a:srgbClr val="989898"/>
          </a:solidFill>
          <a:latin typeface="+mn-lt"/>
          <a:ea typeface="Arial" charset="0"/>
          <a:cs typeface="+mn-cs"/>
        </a:defRPr>
      </a:lvl2pPr>
      <a:lvl3pPr marL="1301750" indent="-258763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3pPr>
      <a:lvl4pPr marL="1822450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4pPr>
      <a:lvl5pPr marL="2344738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5pPr>
      <a:lvl6pPr marL="2867547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6pPr>
      <a:lvl7pPr marL="3388919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7pPr>
      <a:lvl8pPr marL="3910291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8pPr>
      <a:lvl9pPr marL="4431663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 descr="Vibration_CMJN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05175"/>
            <a:ext cx="618648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7" descr="image00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3224213"/>
            <a:ext cx="5092700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6" r:id="rId1"/>
    <p:sldLayoutId id="2147487197" r:id="rId2"/>
    <p:sldLayoutId id="2147487198" r:id="rId3"/>
    <p:sldLayoutId id="2147487199" r:id="rId4"/>
    <p:sldLayoutId id="2147487200" r:id="rId5"/>
    <p:sldLayoutId id="2147487201" r:id="rId6"/>
    <p:sldLayoutId id="2147487202" r:id="rId7"/>
    <p:sldLayoutId id="2147487203" r:id="rId8"/>
    <p:sldLayoutId id="2147487204" r:id="rId9"/>
    <p:sldLayoutId id="2147487205" r:id="rId10"/>
    <p:sldLayoutId id="2147487206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36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4988" y="303213"/>
            <a:ext cx="9618662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795463"/>
            <a:ext cx="9620250" cy="499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389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59688" y="6886575"/>
            <a:ext cx="2493962" cy="5254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algn="r" defTabSz="914400" eaLnBrk="0" hangingPunct="0">
              <a:defRPr sz="16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2FA9A52-D826-4C26-AF0E-E2A92FC677A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pic>
        <p:nvPicPr>
          <p:cNvPr id="3077" name="Picture 7" descr="LOGO_V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200" y="6878638"/>
            <a:ext cx="22304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293688" y="6878638"/>
            <a:ext cx="841375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74" tIns="52138" rIns="104274" bIns="52138"/>
          <a:lstStyle>
            <a:lvl1pPr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 eaLnBrk="1" hangingPunct="1">
              <a:defRPr/>
            </a:pPr>
            <a:fld id="{E95E0636-597E-40B0-889F-F61967EF15DC}" type="slidenum">
              <a:rPr lang="fr-FR" altLang="fr-FR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°›</a:t>
            </a:fld>
            <a:endParaRPr lang="fr-FR" altLang="fr-FR" smtClean="0">
              <a:solidFill>
                <a:srgbClr val="000000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227" r:id="rId1"/>
    <p:sldLayoutId id="2147487228" r:id="rId2"/>
    <p:sldLayoutId id="2147487229" r:id="rId3"/>
    <p:sldLayoutId id="2147487230" r:id="rId4"/>
    <p:sldLayoutId id="2147487231" r:id="rId5"/>
    <p:sldLayoutId id="2147487232" r:id="rId6"/>
    <p:sldLayoutId id="2147487233" r:id="rId7"/>
    <p:sldLayoutId id="2147487234" r:id="rId8"/>
    <p:sldLayoutId id="2147487235" r:id="rId9"/>
    <p:sldLayoutId id="2147487236" r:id="rId10"/>
    <p:sldLayoutId id="2147487237" r:id="rId11"/>
    <p:sldLayoutId id="2147487238" r:id="rId1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2300" b="1">
          <a:solidFill>
            <a:srgbClr val="7422A2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b="1">
          <a:solidFill>
            <a:schemeClr val="tx1"/>
          </a:solidFill>
          <a:latin typeface="Arial" charset="0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Arial" charset="0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Arial" charset="0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Arial" charset="0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39" r:id="rId1"/>
    <p:sldLayoutId id="2147487240" r:id="rId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5pPr>
      <a:lvl6pPr marL="472868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6pPr>
      <a:lvl7pPr marL="945735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7pPr>
      <a:lvl8pPr marL="1418604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8pPr>
      <a:lvl9pPr marL="1891473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9pPr>
    </p:titleStyle>
    <p:bodyStyle>
      <a:lvl1pPr marL="354013" indent="-3540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952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8110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54175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2725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0776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7364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4651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19379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286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573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8604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1473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64341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7209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1007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294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41" r:id="rId1"/>
    <p:sldLayoutId id="2147487242" r:id="rId2"/>
    <p:sldLayoutId id="2147487243" r:id="rId3"/>
    <p:sldLayoutId id="2147487244" r:id="rId4"/>
    <p:sldLayoutId id="2147487245" r:id="rId5"/>
  </p:sldLayoutIdLst>
  <p:hf sldNum="0" hdr="0" ftr="0" dt="0"/>
  <p:txStyles>
    <p:titleStyle>
      <a:lvl1pPr algn="ctr" defTabSz="520700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2pPr>
      <a:lvl3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3pPr>
      <a:lvl4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4pPr>
      <a:lvl5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5pPr>
      <a:lvl6pPr marL="4572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6pPr>
      <a:lvl7pPr marL="9144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7pPr>
      <a:lvl8pPr marL="13716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8pPr>
      <a:lvl9pPr marL="18288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7900" y="690563"/>
            <a:ext cx="9263063" cy="354012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800" b="1" dirty="0" err="1" smtClean="0"/>
              <a:t>Cniv</a:t>
            </a:r>
            <a:r>
              <a:rPr lang="fr-FR" sz="2800" b="1" dirty="0" smtClean="0"/>
              <a:t> </a:t>
            </a:r>
            <a:r>
              <a:rPr lang="fr-FR" sz="2800" b="1" dirty="0" smtClean="0"/>
              <a:t>2017</a:t>
            </a:r>
            <a:r>
              <a:rPr lang="fr-FR" sz="2800" b="1" dirty="0" smtClean="0"/>
              <a:t/>
            </a:r>
            <a:br>
              <a:rPr lang="fr-FR" sz="2800" b="1" dirty="0" smtClean="0"/>
            </a:br>
            <a:r>
              <a:rPr lang="fr-FR" sz="2400" b="1" dirty="0" smtClean="0"/>
              <a:t>« </a:t>
            </a:r>
            <a:r>
              <a:rPr lang="fr-FR" sz="2400" b="1" dirty="0" smtClean="0"/>
              <a:t>2</a:t>
            </a:r>
            <a:r>
              <a:rPr lang="fr-FR" sz="2400" b="1" baseline="30000" dirty="0" smtClean="0"/>
              <a:t>ème</a:t>
            </a:r>
            <a:r>
              <a:rPr lang="fr-FR" sz="2400" b="1" dirty="0" smtClean="0"/>
              <a:t> </a:t>
            </a:r>
            <a:r>
              <a:rPr lang="fr-FR" sz="2400" b="1" dirty="0" smtClean="0"/>
              <a:t>congrès national d’imagerie du vivant</a:t>
            </a:r>
            <a:r>
              <a:rPr lang="fr-FR" sz="2400" b="1" i="1" dirty="0" smtClean="0"/>
              <a:t> </a:t>
            </a:r>
            <a:r>
              <a:rPr lang="fr-FR" sz="2400" b="1" dirty="0" smtClean="0"/>
              <a:t>»</a:t>
            </a:r>
            <a:r>
              <a:rPr lang="fr-FR" sz="2400" b="1" dirty="0"/>
              <a:t/>
            </a:r>
            <a:br>
              <a:rPr lang="fr-FR" sz="2400" b="1" dirty="0"/>
            </a:br>
            <a:r>
              <a:rPr lang="fr-FR" sz="1400" b="1" dirty="0" smtClean="0"/>
              <a:t>8 </a:t>
            </a:r>
            <a:r>
              <a:rPr lang="fr-FR" sz="1400" b="1" dirty="0" smtClean="0"/>
              <a:t>- </a:t>
            </a:r>
            <a:r>
              <a:rPr lang="fr-FR" sz="1400" b="1" dirty="0" smtClean="0"/>
              <a:t>9 novembre 2017 </a:t>
            </a:r>
            <a:r>
              <a:rPr lang="fr-FR" sz="1400" b="1" dirty="0" smtClean="0"/>
              <a:t>– </a:t>
            </a:r>
            <a:r>
              <a:rPr lang="fr-FR" sz="1400" b="1" dirty="0" smtClean="0"/>
              <a:t>institut pasteur (</a:t>
            </a:r>
            <a:r>
              <a:rPr lang="fr-FR" sz="1400" b="1" dirty="0" smtClean="0"/>
              <a:t>Paris)</a:t>
            </a:r>
            <a:br>
              <a:rPr lang="fr-FR" sz="1400" b="1" dirty="0" smtClean="0"/>
            </a:br>
            <a:r>
              <a:rPr lang="fr-FR" sz="1400" b="1" dirty="0" smtClean="0"/>
              <a:t/>
            </a:r>
            <a:br>
              <a:rPr lang="fr-FR" sz="1400" b="1" dirty="0" smtClean="0"/>
            </a:br>
            <a:r>
              <a:rPr lang="fr-FR" sz="2000" dirty="0"/>
              <a:t/>
            </a:r>
            <a:br>
              <a:rPr lang="fr-FR" sz="2000" dirty="0"/>
            </a:br>
            <a:r>
              <a:rPr lang="fr-FR" sz="2400" dirty="0"/>
              <a:t/>
            </a:r>
            <a:br>
              <a:rPr lang="fr-FR" sz="2400" dirty="0"/>
            </a:br>
            <a:r>
              <a:rPr lang="fr-FR" sz="2400" b="1" dirty="0" smtClean="0"/>
              <a:t/>
            </a:r>
            <a:br>
              <a:rPr lang="fr-FR" sz="2400" b="1" dirty="0" smtClean="0"/>
            </a:br>
            <a:endParaRPr lang="fr-FR" sz="2400" b="1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977900" y="3852664"/>
            <a:ext cx="8399463" cy="504825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000" b="1" dirty="0">
                <a:ea typeface="+mj-ea"/>
                <a:cs typeface="+mj-cs"/>
              </a:rPr>
              <a:t>Appel à Manifestation d’Intérêt</a:t>
            </a:r>
            <a:r>
              <a:rPr lang="fr-FR" sz="2400" b="1" dirty="0"/>
              <a:t/>
            </a:r>
            <a:br>
              <a:rPr lang="fr-FR" sz="2400" b="1" dirty="0"/>
            </a:br>
            <a:r>
              <a:rPr lang="fr-FR" sz="2400" dirty="0">
                <a:solidFill>
                  <a:srgbClr val="FF0000"/>
                </a:solidFill>
                <a:ea typeface="+mj-ea"/>
                <a:cs typeface="+mj-cs"/>
              </a:rPr>
              <a:t>offre de services </a:t>
            </a:r>
            <a:endParaRPr lang="fr-FR" sz="2400" dirty="0" smtClean="0">
              <a:solidFill>
                <a:srgbClr val="FF0000"/>
              </a:solidFill>
              <a:ea typeface="+mj-ea"/>
              <a:cs typeface="+mj-cs"/>
            </a:endParaRPr>
          </a:p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400" dirty="0"/>
              <a:t/>
            </a:r>
            <a:br>
              <a:rPr lang="fr-FR" sz="2400" dirty="0"/>
            </a:br>
            <a:r>
              <a:rPr lang="fr-FR" sz="2400" i="1" dirty="0" smtClean="0"/>
              <a:t>Nom de l’entreprise</a:t>
            </a:r>
            <a:br>
              <a:rPr lang="fr-FR" sz="2400" i="1" dirty="0" smtClean="0"/>
            </a:br>
            <a:endParaRPr lang="fr-FR" sz="2400" b="1" i="1" dirty="0" smtClean="0"/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7" y="5653632"/>
            <a:ext cx="10688638" cy="1909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1. Présentation du prestataire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 smtClean="0"/>
          </a:p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1512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2. l’offre de services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1512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3. Contact </a:t>
            </a:r>
            <a:br>
              <a:rPr lang="fr-FR" altLang="fr-FR" sz="2600" dirty="0" smtClean="0">
                <a:cs typeface="Arial" pitchFamily="34" charset="0"/>
              </a:rPr>
            </a:b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2046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Adresse, mail, téléphone :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1F.2w_30OF9kZiuAuW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.ADWilh02tFfugy5iR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rMsdcQUS1Yw8igdBCAg"/>
</p:tagLst>
</file>

<file path=ppt/theme/theme1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asque medicen [Lecture seule]" id="{4C7E2635-A0EA-4A59-8CDE-D9810E717A82}" vid="{BD58B48C-6F90-44D9-8F5F-39CD7364AD15}"/>
    </a:ext>
  </a:extLst>
</a:theme>
</file>

<file path=ppt/theme/theme2.xml><?xml version="1.0" encoding="utf-8"?>
<a:theme xmlns:a="http://schemas.openxmlformats.org/drawingml/2006/main" name="One-IS Template">
  <a:themeElements>
    <a:clrScheme name="Sanofi_Presentation_Blu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Sanofi_Presentation_Blu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nofi_Presentation_Blu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eption personnalisée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edicen">
  <a:themeElements>
    <a:clrScheme name="Personnalisée 3">
      <a:dk1>
        <a:srgbClr val="2A22D9"/>
      </a:dk1>
      <a:lt1>
        <a:srgbClr val="FFFFFF"/>
      </a:lt1>
      <a:dk2>
        <a:srgbClr val="2A22D9"/>
      </a:dk2>
      <a:lt2>
        <a:srgbClr val="FB4409"/>
      </a:lt2>
      <a:accent1>
        <a:srgbClr val="2A22D9"/>
      </a:accent1>
      <a:accent2>
        <a:srgbClr val="FB4409"/>
      </a:accent2>
      <a:accent3>
        <a:srgbClr val="65FBAC"/>
      </a:accent3>
      <a:accent4>
        <a:srgbClr val="EE8EF6"/>
      </a:accent4>
      <a:accent5>
        <a:srgbClr val="4CE8F8"/>
      </a:accent5>
      <a:accent6>
        <a:srgbClr val="A99BF7"/>
      </a:accent6>
      <a:hlink>
        <a:srgbClr val="FB4409"/>
      </a:hlink>
      <a:folHlink>
        <a:srgbClr val="FFFFFF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rmAutofit lnSpcReduction="10000"/>
      </a:bodyPr>
      <a:lstStyle>
        <a:defPPr algn="l">
          <a:defRPr sz="1400" cap="all" baseline="0" dirty="0" smtClean="0">
            <a:solidFill>
              <a:srgbClr val="FB4409"/>
            </a:solidFill>
            <a:latin typeface="DIN Next LT Pro Ligh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 medicen</Template>
  <TotalTime>4917</TotalTime>
  <Words>25</Words>
  <Application>Microsoft Office PowerPoint</Application>
  <PresentationFormat>Personnalisé</PresentationFormat>
  <Paragraphs>13</Paragraphs>
  <Slides>4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11" baseType="lpstr">
      <vt:lpstr>1_Thème Office</vt:lpstr>
      <vt:lpstr>One-IS Template</vt:lpstr>
      <vt:lpstr>Conception personnalisée</vt:lpstr>
      <vt:lpstr>1_Conception personnalisée</vt:lpstr>
      <vt:lpstr>4_Conception personnalisée</vt:lpstr>
      <vt:lpstr>Medicen</vt:lpstr>
      <vt:lpstr>think-cell Slide</vt:lpstr>
      <vt:lpstr>Cniv 2017 « 2ème congrès national d’imagerie du vivant » 8 - 9 novembre 2017 – institut pasteur (Paris)     </vt:lpstr>
      <vt:lpstr>1. Présentation du prestataire</vt:lpstr>
      <vt:lpstr>2. l’offre de services</vt:lpstr>
      <vt:lpstr>3. Contact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ines d’Actions Stratégiques 2014 - 2018</dc:title>
  <dc:creator>Jean Roch MEUNIER</dc:creator>
  <cp:lastModifiedBy>Alexandre da Costa</cp:lastModifiedBy>
  <cp:revision>214</cp:revision>
  <cp:lastPrinted>2014-02-10T09:54:12Z</cp:lastPrinted>
  <dcterms:created xsi:type="dcterms:W3CDTF">2013-12-08T12:35:44Z</dcterms:created>
  <dcterms:modified xsi:type="dcterms:W3CDTF">2017-05-10T10:09:25Z</dcterms:modified>
</cp:coreProperties>
</file>